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0" r:id="rId4"/>
  </p:sldMasterIdLst>
  <p:notesMasterIdLst>
    <p:notesMasterId r:id="rId6"/>
  </p:notesMasterIdLst>
  <p:sldIdLst>
    <p:sldId id="531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sch, Lucie" initials="VL" lastIdx="1" clrIdx="0">
    <p:extLst>
      <p:ext uri="{19B8F6BF-5375-455C-9EA6-DF929625EA0E}">
        <p15:presenceInfo xmlns:p15="http://schemas.microsoft.com/office/powerpoint/2012/main" userId="S-1-5-21-329068152-1454471165-1417001333-3826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D6400"/>
    <a:srgbClr val="FE924C"/>
    <a:srgbClr val="2D2C86"/>
    <a:srgbClr val="FED0B2"/>
    <a:srgbClr val="EAF1FF"/>
    <a:srgbClr val="FFF7EC"/>
    <a:srgbClr val="FF8205"/>
    <a:srgbClr val="65BDDB"/>
    <a:srgbClr val="0460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>
        <p:scale>
          <a:sx n="60" d="100"/>
          <a:sy n="60" d="100"/>
        </p:scale>
        <p:origin x="88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radia, Chirag" userId="70fb9012-9f66-4a39-aa39-1eeb1d0d7277" providerId="ADAL" clId="{52E03DD6-29AB-4B0F-99A8-0050BF99C422}"/>
    <pc:docChg chg="undo redo custSel modSld modMainMaster">
      <pc:chgData name="Goradia, Chirag" userId="70fb9012-9f66-4a39-aa39-1eeb1d0d7277" providerId="ADAL" clId="{52E03DD6-29AB-4B0F-99A8-0050BF99C422}" dt="2023-06-08T14:08:16.906" v="421" actId="1037"/>
      <pc:docMkLst>
        <pc:docMk/>
      </pc:docMkLst>
      <pc:sldChg chg="addSp delSp modSp mod chgLayout">
        <pc:chgData name="Goradia, Chirag" userId="70fb9012-9f66-4a39-aa39-1eeb1d0d7277" providerId="ADAL" clId="{52E03DD6-29AB-4B0F-99A8-0050BF99C422}" dt="2023-06-08T14:08:16.906" v="421" actId="1037"/>
        <pc:sldMkLst>
          <pc:docMk/>
          <pc:sldMk cId="2520935320" sldId="531"/>
        </pc:sldMkLst>
        <pc:spChg chg="add del mod">
          <ac:chgData name="Goradia, Chirag" userId="70fb9012-9f66-4a39-aa39-1eeb1d0d7277" providerId="ADAL" clId="{52E03DD6-29AB-4B0F-99A8-0050BF99C422}" dt="2023-06-08T13:46:42.803" v="385" actId="1036"/>
          <ac:spMkLst>
            <pc:docMk/>
            <pc:sldMk cId="2520935320" sldId="531"/>
            <ac:spMk id="3" creationId="{08EA0BDC-4F02-4316-B9A8-E04A00C81152}"/>
          </ac:spMkLst>
        </pc:spChg>
        <pc:spChg chg="add mod">
          <ac:chgData name="Goradia, Chirag" userId="70fb9012-9f66-4a39-aa39-1eeb1d0d7277" providerId="ADAL" clId="{52E03DD6-29AB-4B0F-99A8-0050BF99C422}" dt="2023-06-08T14:01:55.376" v="396"/>
          <ac:spMkLst>
            <pc:docMk/>
            <pc:sldMk cId="2520935320" sldId="531"/>
            <ac:spMk id="4" creationId="{63D67496-4750-A8DD-E6C0-B4BBCF127807}"/>
          </ac:spMkLst>
        </pc:spChg>
        <pc:spChg chg="mod">
          <ac:chgData name="Goradia, Chirag" userId="70fb9012-9f66-4a39-aa39-1eeb1d0d7277" providerId="ADAL" clId="{52E03DD6-29AB-4B0F-99A8-0050BF99C422}" dt="2023-06-08T05:58:14.938" v="15" actId="14100"/>
          <ac:spMkLst>
            <pc:docMk/>
            <pc:sldMk cId="2520935320" sldId="531"/>
            <ac:spMk id="6" creationId="{47DD73A6-E9A1-49D9-A11A-0E15E52844CB}"/>
          </ac:spMkLst>
        </pc:spChg>
        <pc:spChg chg="mod">
          <ac:chgData name="Goradia, Chirag" userId="70fb9012-9f66-4a39-aa39-1eeb1d0d7277" providerId="ADAL" clId="{52E03DD6-29AB-4B0F-99A8-0050BF99C422}" dt="2023-06-08T14:01:28.413" v="391"/>
          <ac:spMkLst>
            <pc:docMk/>
            <pc:sldMk cId="2520935320" sldId="531"/>
            <ac:spMk id="7" creationId="{27F63765-ACC3-4248-B021-B24B4663F24E}"/>
          </ac:spMkLst>
        </pc:spChg>
        <pc:spChg chg="mod ord">
          <ac:chgData name="Goradia, Chirag" userId="70fb9012-9f66-4a39-aa39-1eeb1d0d7277" providerId="ADAL" clId="{52E03DD6-29AB-4B0F-99A8-0050BF99C422}" dt="2023-06-08T05:57:15.563" v="8" actId="700"/>
          <ac:spMkLst>
            <pc:docMk/>
            <pc:sldMk cId="2520935320" sldId="531"/>
            <ac:spMk id="8" creationId="{9A0B1BB0-02CA-45D9-A7A7-D68EEDE736B5}"/>
          </ac:spMkLst>
        </pc:spChg>
        <pc:spChg chg="mod">
          <ac:chgData name="Goradia, Chirag" userId="70fb9012-9f66-4a39-aa39-1eeb1d0d7277" providerId="ADAL" clId="{52E03DD6-29AB-4B0F-99A8-0050BF99C422}" dt="2023-06-08T13:31:53.226" v="80" actId="14100"/>
          <ac:spMkLst>
            <pc:docMk/>
            <pc:sldMk cId="2520935320" sldId="531"/>
            <ac:spMk id="9" creationId="{85570442-7B88-45E7-B360-4FFF925BDBCC}"/>
          </ac:spMkLst>
        </pc:spChg>
        <pc:spChg chg="mod">
          <ac:chgData name="Goradia, Chirag" userId="70fb9012-9f66-4a39-aa39-1eeb1d0d7277" providerId="ADAL" clId="{52E03DD6-29AB-4B0F-99A8-0050BF99C422}" dt="2023-06-08T13:42:13.124" v="319" actId="20577"/>
          <ac:spMkLst>
            <pc:docMk/>
            <pc:sldMk cId="2520935320" sldId="531"/>
            <ac:spMk id="10" creationId="{847A20DF-4A81-40B4-B63E-F02B8B77721F}"/>
          </ac:spMkLst>
        </pc:spChg>
        <pc:spChg chg="del mod">
          <ac:chgData name="Goradia, Chirag" userId="70fb9012-9f66-4a39-aa39-1eeb1d0d7277" providerId="ADAL" clId="{52E03DD6-29AB-4B0F-99A8-0050BF99C422}" dt="2023-06-08T14:01:52.338" v="395" actId="478"/>
          <ac:spMkLst>
            <pc:docMk/>
            <pc:sldMk cId="2520935320" sldId="531"/>
            <ac:spMk id="12" creationId="{4DBAFCC6-8771-4E8E-BAE3-7EBF02D7A4B0}"/>
          </ac:spMkLst>
        </pc:spChg>
        <pc:spChg chg="mod">
          <ac:chgData name="Goradia, Chirag" userId="70fb9012-9f66-4a39-aa39-1eeb1d0d7277" providerId="ADAL" clId="{52E03DD6-29AB-4B0F-99A8-0050BF99C422}" dt="2023-06-08T05:57:44.814" v="13" actId="313"/>
          <ac:spMkLst>
            <pc:docMk/>
            <pc:sldMk cId="2520935320" sldId="531"/>
            <ac:spMk id="13" creationId="{13BE3AFE-9213-4E7B-B6C0-C98E69D64C3E}"/>
          </ac:spMkLst>
        </pc:spChg>
        <pc:spChg chg="mod">
          <ac:chgData name="Goradia, Chirag" userId="70fb9012-9f66-4a39-aa39-1eeb1d0d7277" providerId="ADAL" clId="{52E03DD6-29AB-4B0F-99A8-0050BF99C422}" dt="2023-06-08T14:07:52.226" v="412" actId="14100"/>
          <ac:spMkLst>
            <pc:docMk/>
            <pc:sldMk cId="2520935320" sldId="531"/>
            <ac:spMk id="16" creationId="{352C0D93-62C6-0111-D5B3-CE6184903CDF}"/>
          </ac:spMkLst>
        </pc:spChg>
        <pc:spChg chg="del">
          <ac:chgData name="Goradia, Chirag" userId="70fb9012-9f66-4a39-aa39-1eeb1d0d7277" providerId="ADAL" clId="{52E03DD6-29AB-4B0F-99A8-0050BF99C422}" dt="2023-06-08T13:29:07.498" v="16" actId="478"/>
          <ac:spMkLst>
            <pc:docMk/>
            <pc:sldMk cId="2520935320" sldId="531"/>
            <ac:spMk id="17" creationId="{0E3F412A-2EDD-4851-B3B8-14C6614712FF}"/>
          </ac:spMkLst>
        </pc:spChg>
        <pc:spChg chg="mod">
          <ac:chgData name="Goradia, Chirag" userId="70fb9012-9f66-4a39-aa39-1eeb1d0d7277" providerId="ADAL" clId="{52E03DD6-29AB-4B0F-99A8-0050BF99C422}" dt="2023-06-08T13:43:57.352" v="363" actId="14100"/>
          <ac:spMkLst>
            <pc:docMk/>
            <pc:sldMk cId="2520935320" sldId="531"/>
            <ac:spMk id="18" creationId="{5F33E51A-3061-4FED-8825-A73AC9ADDE9B}"/>
          </ac:spMkLst>
        </pc:spChg>
        <pc:spChg chg="mod">
          <ac:chgData name="Goradia, Chirag" userId="70fb9012-9f66-4a39-aa39-1eeb1d0d7277" providerId="ADAL" clId="{52E03DD6-29AB-4B0F-99A8-0050BF99C422}" dt="2023-06-08T14:08:16.906" v="421" actId="1037"/>
          <ac:spMkLst>
            <pc:docMk/>
            <pc:sldMk cId="2520935320" sldId="531"/>
            <ac:spMk id="22" creationId="{40B0800B-5303-4CB7-9A7A-358F4A19970C}"/>
          </ac:spMkLst>
        </pc:spChg>
        <pc:spChg chg="mod">
          <ac:chgData name="Goradia, Chirag" userId="70fb9012-9f66-4a39-aa39-1eeb1d0d7277" providerId="ADAL" clId="{52E03DD6-29AB-4B0F-99A8-0050BF99C422}" dt="2023-06-08T13:30:29.864" v="43" actId="1076"/>
          <ac:spMkLst>
            <pc:docMk/>
            <pc:sldMk cId="2520935320" sldId="531"/>
            <ac:spMk id="23" creationId="{28AB2D9C-2686-4E36-9C97-5F32A1529F43}"/>
          </ac:spMkLst>
        </pc:spChg>
        <pc:spChg chg="mod">
          <ac:chgData name="Goradia, Chirag" userId="70fb9012-9f66-4a39-aa39-1eeb1d0d7277" providerId="ADAL" clId="{52E03DD6-29AB-4B0F-99A8-0050BF99C422}" dt="2023-06-08T14:07:45.915" v="411" actId="14100"/>
          <ac:spMkLst>
            <pc:docMk/>
            <pc:sldMk cId="2520935320" sldId="531"/>
            <ac:spMk id="26" creationId="{10C3F938-130F-41E3-81BF-7E59A83B0948}"/>
          </ac:spMkLst>
        </pc:spChg>
        <pc:picChg chg="add mod">
          <ac:chgData name="Goradia, Chirag" userId="70fb9012-9f66-4a39-aa39-1eeb1d0d7277" providerId="ADAL" clId="{52E03DD6-29AB-4B0F-99A8-0050BF99C422}" dt="2023-06-08T14:01:13.819" v="388"/>
          <ac:picMkLst>
            <pc:docMk/>
            <pc:sldMk cId="2520935320" sldId="531"/>
            <ac:picMk id="2" creationId="{DB4E04DA-56EC-17C2-F5AC-5BBA69C84C15}"/>
          </ac:picMkLst>
        </pc:picChg>
        <pc:picChg chg="del mod">
          <ac:chgData name="Goradia, Chirag" userId="70fb9012-9f66-4a39-aa39-1eeb1d0d7277" providerId="ADAL" clId="{52E03DD6-29AB-4B0F-99A8-0050BF99C422}" dt="2023-06-08T14:01:13.363" v="387" actId="478"/>
          <ac:picMkLst>
            <pc:docMk/>
            <pc:sldMk cId="2520935320" sldId="531"/>
            <ac:picMk id="20" creationId="{474CF40C-84CB-5671-222E-394DBB42EB47}"/>
          </ac:picMkLst>
        </pc:picChg>
      </pc:sldChg>
      <pc:sldMasterChg chg="modSp mod delSldLayout modSldLayout">
        <pc:chgData name="Goradia, Chirag" userId="70fb9012-9f66-4a39-aa39-1eeb1d0d7277" providerId="ADAL" clId="{52E03DD6-29AB-4B0F-99A8-0050BF99C422}" dt="2023-06-08T05:56:51.623" v="4" actId="20577"/>
        <pc:sldMasterMkLst>
          <pc:docMk/>
          <pc:sldMasterMk cId="3148442428" sldId="2147483680"/>
        </pc:sldMasterMkLst>
        <pc:spChg chg="mod">
          <ac:chgData name="Goradia, Chirag" userId="70fb9012-9f66-4a39-aa39-1eeb1d0d7277" providerId="ADAL" clId="{52E03DD6-29AB-4B0F-99A8-0050BF99C422}" dt="2023-06-08T05:56:46.371" v="2" actId="20577"/>
          <ac:spMkLst>
            <pc:docMk/>
            <pc:sldMasterMk cId="3148442428" sldId="2147483680"/>
            <ac:spMk id="9" creationId="{00000000-0000-0000-0000-000000000000}"/>
          </ac:spMkLst>
        </pc:spChg>
        <pc:sldLayoutChg chg="del">
          <pc:chgData name="Goradia, Chirag" userId="70fb9012-9f66-4a39-aa39-1eeb1d0d7277" providerId="ADAL" clId="{52E03DD6-29AB-4B0F-99A8-0050BF99C422}" dt="2023-06-08T05:56:41.865" v="0" actId="2696"/>
          <pc:sldLayoutMkLst>
            <pc:docMk/>
            <pc:sldMasterMk cId="3148442428" sldId="2147483680"/>
            <pc:sldLayoutMk cId="3360526292" sldId="2147483682"/>
          </pc:sldLayoutMkLst>
        </pc:sldLayoutChg>
        <pc:sldLayoutChg chg="modSp mod">
          <pc:chgData name="Goradia, Chirag" userId="70fb9012-9f66-4a39-aa39-1eeb1d0d7277" providerId="ADAL" clId="{52E03DD6-29AB-4B0F-99A8-0050BF99C422}" dt="2023-06-08T05:56:51.623" v="4" actId="20577"/>
          <pc:sldLayoutMkLst>
            <pc:docMk/>
            <pc:sldMasterMk cId="3148442428" sldId="2147483680"/>
            <pc:sldLayoutMk cId="3493706724" sldId="2147483687"/>
          </pc:sldLayoutMkLst>
          <pc:spChg chg="mod">
            <ac:chgData name="Goradia, Chirag" userId="70fb9012-9f66-4a39-aa39-1eeb1d0d7277" providerId="ADAL" clId="{52E03DD6-29AB-4B0F-99A8-0050BF99C422}" dt="2023-06-08T05:56:51.623" v="4" actId="20577"/>
            <ac:spMkLst>
              <pc:docMk/>
              <pc:sldMasterMk cId="3148442428" sldId="2147483680"/>
              <pc:sldLayoutMk cId="3493706724" sldId="2147483687"/>
              <ac:spMk id="6" creationId="{00000000-0000-0000-0000-000000000000}"/>
            </ac:spMkLst>
          </pc:spChg>
        </pc:sldLayoutChg>
      </pc:sldMasterChg>
    </pc:docChg>
  </pc:docChgLst>
  <pc:docChgLst>
    <pc:chgData name="Singh, Ram-CW" userId="149fb765-a49b-43f4-8e3b-a1e4879e592c" providerId="ADAL" clId="{67E10391-8077-1842-9959-653A3E05B31D}"/>
    <pc:docChg chg="undo custSel modSld">
      <pc:chgData name="Singh, Ram-CW" userId="149fb765-a49b-43f4-8e3b-a1e4879e592c" providerId="ADAL" clId="{67E10391-8077-1842-9959-653A3E05B31D}" dt="2024-03-15T09:51:59.169" v="389" actId="20577"/>
      <pc:docMkLst>
        <pc:docMk/>
      </pc:docMkLst>
      <pc:sldChg chg="modSp mod">
        <pc:chgData name="Singh, Ram-CW" userId="149fb765-a49b-43f4-8e3b-a1e4879e592c" providerId="ADAL" clId="{67E10391-8077-1842-9959-653A3E05B31D}" dt="2024-03-15T09:51:59.169" v="389" actId="20577"/>
        <pc:sldMkLst>
          <pc:docMk/>
          <pc:sldMk cId="2520935320" sldId="531"/>
        </pc:sldMkLst>
        <pc:spChg chg="mod">
          <ac:chgData name="Singh, Ram-CW" userId="149fb765-a49b-43f4-8e3b-a1e4879e592c" providerId="ADAL" clId="{67E10391-8077-1842-9959-653A3E05B31D}" dt="2024-02-27T04:42:25.199" v="376" actId="20577"/>
          <ac:spMkLst>
            <pc:docMk/>
            <pc:sldMk cId="2520935320" sldId="531"/>
            <ac:spMk id="7" creationId="{27F63765-ACC3-4248-B021-B24B4663F24E}"/>
          </ac:spMkLst>
        </pc:spChg>
        <pc:spChg chg="mod">
          <ac:chgData name="Singh, Ram-CW" userId="149fb765-a49b-43f4-8e3b-a1e4879e592c" providerId="ADAL" clId="{67E10391-8077-1842-9959-653A3E05B31D}" dt="2024-02-27T04:44:07.753" v="386" actId="20577"/>
          <ac:spMkLst>
            <pc:docMk/>
            <pc:sldMk cId="2520935320" sldId="531"/>
            <ac:spMk id="13" creationId="{13BE3AFE-9213-4E7B-B6C0-C98E69D64C3E}"/>
          </ac:spMkLst>
        </pc:spChg>
        <pc:spChg chg="mod">
          <ac:chgData name="Singh, Ram-CW" userId="149fb765-a49b-43f4-8e3b-a1e4879e592c" providerId="ADAL" clId="{67E10391-8077-1842-9959-653A3E05B31D}" dt="2024-03-15T09:51:59.169" v="389" actId="20577"/>
          <ac:spMkLst>
            <pc:docMk/>
            <pc:sldMk cId="2520935320" sldId="531"/>
            <ac:spMk id="22" creationId="{40B0800B-5303-4CB7-9A7A-358F4A19970C}"/>
          </ac:spMkLst>
        </pc:spChg>
        <pc:spChg chg="mod">
          <ac:chgData name="Singh, Ram-CW" userId="149fb765-a49b-43f4-8e3b-a1e4879e592c" providerId="ADAL" clId="{67E10391-8077-1842-9959-653A3E05B31D}" dt="2024-02-27T04:36:16.849" v="313" actId="113"/>
          <ac:spMkLst>
            <pc:docMk/>
            <pc:sldMk cId="2520935320" sldId="531"/>
            <ac:spMk id="23" creationId="{28AB2D9C-2686-4E36-9C97-5F32A1529F43}"/>
          </ac:spMkLst>
        </pc:spChg>
        <pc:spChg chg="mod">
          <ac:chgData name="Singh, Ram-CW" userId="149fb765-a49b-43f4-8e3b-a1e4879e592c" providerId="ADAL" clId="{67E10391-8077-1842-9959-653A3E05B31D}" dt="2024-02-27T04:45:08.130" v="388" actId="20577"/>
          <ac:spMkLst>
            <pc:docMk/>
            <pc:sldMk cId="2520935320" sldId="531"/>
            <ac:spMk id="26" creationId="{10C3F938-130F-41E3-81BF-7E59A83B0948}"/>
          </ac:spMkLst>
        </pc:spChg>
      </pc:sldChg>
    </pc:docChg>
  </pc:docChgLst>
  <pc:docChgLst>
    <pc:chgData name="Singh, Ram-CW" userId="149fb765-a49b-43f4-8e3b-a1e4879e592c" providerId="ADAL" clId="{2101F680-2B89-4F42-92C3-2C4C894C50CC}"/>
    <pc:docChg chg="undo custSel modSld">
      <pc:chgData name="Singh, Ram-CW" userId="149fb765-a49b-43f4-8e3b-a1e4879e592c" providerId="ADAL" clId="{2101F680-2B89-4F42-92C3-2C4C894C50CC}" dt="2024-01-10T11:03:52.707" v="482" actId="20577"/>
      <pc:docMkLst>
        <pc:docMk/>
      </pc:docMkLst>
      <pc:sldChg chg="modSp mod">
        <pc:chgData name="Singh, Ram-CW" userId="149fb765-a49b-43f4-8e3b-a1e4879e592c" providerId="ADAL" clId="{2101F680-2B89-4F42-92C3-2C4C894C50CC}" dt="2024-01-10T11:03:52.707" v="482" actId="20577"/>
        <pc:sldMkLst>
          <pc:docMk/>
          <pc:sldMk cId="2520935320" sldId="531"/>
        </pc:sldMkLst>
        <pc:spChg chg="mod">
          <ac:chgData name="Singh, Ram-CW" userId="149fb765-a49b-43f4-8e3b-a1e4879e592c" providerId="ADAL" clId="{2101F680-2B89-4F42-92C3-2C4C894C50CC}" dt="2024-01-10T09:25:22.651" v="133" actId="20577"/>
          <ac:spMkLst>
            <pc:docMk/>
            <pc:sldMk cId="2520935320" sldId="531"/>
            <ac:spMk id="7" creationId="{27F63765-ACC3-4248-B021-B24B4663F24E}"/>
          </ac:spMkLst>
        </pc:spChg>
        <pc:spChg chg="mod">
          <ac:chgData name="Singh, Ram-CW" userId="149fb765-a49b-43f4-8e3b-a1e4879e592c" providerId="ADAL" clId="{2101F680-2B89-4F42-92C3-2C4C894C50CC}" dt="2024-01-10T09:53:23.224" v="480" actId="20577"/>
          <ac:spMkLst>
            <pc:docMk/>
            <pc:sldMk cId="2520935320" sldId="531"/>
            <ac:spMk id="13" creationId="{13BE3AFE-9213-4E7B-B6C0-C98E69D64C3E}"/>
          </ac:spMkLst>
        </pc:spChg>
        <pc:spChg chg="mod">
          <ac:chgData name="Singh, Ram-CW" userId="149fb765-a49b-43f4-8e3b-a1e4879e592c" providerId="ADAL" clId="{2101F680-2B89-4F42-92C3-2C4C894C50CC}" dt="2024-01-10T09:26:31.115" v="138" actId="5793"/>
          <ac:spMkLst>
            <pc:docMk/>
            <pc:sldMk cId="2520935320" sldId="531"/>
            <ac:spMk id="16" creationId="{352C0D93-62C6-0111-D5B3-CE6184903CDF}"/>
          </ac:spMkLst>
        </pc:spChg>
        <pc:spChg chg="mod">
          <ac:chgData name="Singh, Ram-CW" userId="149fb765-a49b-43f4-8e3b-a1e4879e592c" providerId="ADAL" clId="{2101F680-2B89-4F42-92C3-2C4C894C50CC}" dt="2024-01-10T09:51:23.169" v="467" actId="20577"/>
          <ac:spMkLst>
            <pc:docMk/>
            <pc:sldMk cId="2520935320" sldId="531"/>
            <ac:spMk id="19" creationId="{9C4F48FE-3BD8-4633-8A5D-E92B9F2037C0}"/>
          </ac:spMkLst>
        </pc:spChg>
        <pc:spChg chg="mod">
          <ac:chgData name="Singh, Ram-CW" userId="149fb765-a49b-43f4-8e3b-a1e4879e592c" providerId="ADAL" clId="{2101F680-2B89-4F42-92C3-2C4C894C50CC}" dt="2024-01-10T11:03:52.707" v="482" actId="20577"/>
          <ac:spMkLst>
            <pc:docMk/>
            <pc:sldMk cId="2520935320" sldId="531"/>
            <ac:spMk id="26" creationId="{10C3F938-130F-41E3-81BF-7E59A83B0948}"/>
          </ac:spMkLst>
        </pc:spChg>
      </pc:sldChg>
    </pc:docChg>
  </pc:docChgLst>
  <pc:docChgLst>
    <pc:chgData name="Shrivastava, Nidhi" userId="2c560d50-77ea-43e6-b706-f16c15a34a0a" providerId="ADAL" clId="{510299B8-1299-49D5-8342-B5ECC893EA69}"/>
    <pc:docChg chg="undo custSel addSld delSld modSld modMainMaster">
      <pc:chgData name="Shrivastava, Nidhi" userId="2c560d50-77ea-43e6-b706-f16c15a34a0a" providerId="ADAL" clId="{510299B8-1299-49D5-8342-B5ECC893EA69}" dt="2023-03-20T11:53:54.927" v="2420" actId="6549"/>
      <pc:docMkLst>
        <pc:docMk/>
      </pc:docMkLst>
      <pc:sldChg chg="del">
        <pc:chgData name="Shrivastava, Nidhi" userId="2c560d50-77ea-43e6-b706-f16c15a34a0a" providerId="ADAL" clId="{510299B8-1299-49D5-8342-B5ECC893EA69}" dt="2023-03-20T11:09:12.924" v="1558" actId="2696"/>
        <pc:sldMkLst>
          <pc:docMk/>
          <pc:sldMk cId="3874008495" sldId="530"/>
        </pc:sldMkLst>
      </pc:sldChg>
      <pc:sldChg chg="modSp mod">
        <pc:chgData name="Shrivastava, Nidhi" userId="2c560d50-77ea-43e6-b706-f16c15a34a0a" providerId="ADAL" clId="{510299B8-1299-49D5-8342-B5ECC893EA69}" dt="2023-03-20T11:53:54.927" v="2420" actId="6549"/>
        <pc:sldMkLst>
          <pc:docMk/>
          <pc:sldMk cId="2520935320" sldId="531"/>
        </pc:sldMkLst>
        <pc:spChg chg="mod">
          <ac:chgData name="Shrivastava, Nidhi" userId="2c560d50-77ea-43e6-b706-f16c15a34a0a" providerId="ADAL" clId="{510299B8-1299-49D5-8342-B5ECC893EA69}" dt="2023-03-20T11:10:37.854" v="1570" actId="14100"/>
          <ac:spMkLst>
            <pc:docMk/>
            <pc:sldMk cId="2520935320" sldId="531"/>
            <ac:spMk id="6" creationId="{47DD73A6-E9A1-49D9-A11A-0E15E52844CB}"/>
          </ac:spMkLst>
        </pc:spChg>
        <pc:spChg chg="mod">
          <ac:chgData name="Shrivastava, Nidhi" userId="2c560d50-77ea-43e6-b706-f16c15a34a0a" providerId="ADAL" clId="{510299B8-1299-49D5-8342-B5ECC893EA69}" dt="2023-03-20T11:23:51.308" v="2041" actId="1076"/>
          <ac:spMkLst>
            <pc:docMk/>
            <pc:sldMk cId="2520935320" sldId="531"/>
            <ac:spMk id="7" creationId="{27F63765-ACC3-4248-B021-B24B4663F24E}"/>
          </ac:spMkLst>
        </pc:spChg>
        <pc:spChg chg="mod">
          <ac:chgData name="Shrivastava, Nidhi" userId="2c560d50-77ea-43e6-b706-f16c15a34a0a" providerId="ADAL" clId="{510299B8-1299-49D5-8342-B5ECC893EA69}" dt="2023-03-20T11:15:41.878" v="1740" actId="14100"/>
          <ac:spMkLst>
            <pc:docMk/>
            <pc:sldMk cId="2520935320" sldId="531"/>
            <ac:spMk id="9" creationId="{85570442-7B88-45E7-B360-4FFF925BDBCC}"/>
          </ac:spMkLst>
        </pc:spChg>
        <pc:spChg chg="mod">
          <ac:chgData name="Shrivastava, Nidhi" userId="2c560d50-77ea-43e6-b706-f16c15a34a0a" providerId="ADAL" clId="{510299B8-1299-49D5-8342-B5ECC893EA69}" dt="2023-03-20T11:23:47.267" v="2040" actId="1076"/>
          <ac:spMkLst>
            <pc:docMk/>
            <pc:sldMk cId="2520935320" sldId="531"/>
            <ac:spMk id="12" creationId="{4DBAFCC6-8771-4E8E-BAE3-7EBF02D7A4B0}"/>
          </ac:spMkLst>
        </pc:spChg>
        <pc:spChg chg="mod">
          <ac:chgData name="Shrivastava, Nidhi" userId="2c560d50-77ea-43e6-b706-f16c15a34a0a" providerId="ADAL" clId="{510299B8-1299-49D5-8342-B5ECC893EA69}" dt="2023-03-20T11:10:32.985" v="1569" actId="14100"/>
          <ac:spMkLst>
            <pc:docMk/>
            <pc:sldMk cId="2520935320" sldId="531"/>
            <ac:spMk id="13" creationId="{13BE3AFE-9213-4E7B-B6C0-C98E69D64C3E}"/>
          </ac:spMkLst>
        </pc:spChg>
        <pc:spChg chg="mod">
          <ac:chgData name="Shrivastava, Nidhi" userId="2c560d50-77ea-43e6-b706-f16c15a34a0a" providerId="ADAL" clId="{510299B8-1299-49D5-8342-B5ECC893EA69}" dt="2023-03-20T10:49:39.619" v="807" actId="1076"/>
          <ac:spMkLst>
            <pc:docMk/>
            <pc:sldMk cId="2520935320" sldId="531"/>
            <ac:spMk id="14" creationId="{6F4FA560-736D-41DF-AA08-D3D1635A2DF4}"/>
          </ac:spMkLst>
        </pc:spChg>
        <pc:spChg chg="mod">
          <ac:chgData name="Shrivastava, Nidhi" userId="2c560d50-77ea-43e6-b706-f16c15a34a0a" providerId="ADAL" clId="{510299B8-1299-49D5-8342-B5ECC893EA69}" dt="2023-03-20T10:50:15.228" v="812" actId="1076"/>
          <ac:spMkLst>
            <pc:docMk/>
            <pc:sldMk cId="2520935320" sldId="531"/>
            <ac:spMk id="15" creationId="{A2E35764-883D-4F16-AA06-7945656331DF}"/>
          </ac:spMkLst>
        </pc:spChg>
        <pc:spChg chg="mod">
          <ac:chgData name="Shrivastava, Nidhi" userId="2c560d50-77ea-43e6-b706-f16c15a34a0a" providerId="ADAL" clId="{510299B8-1299-49D5-8342-B5ECC893EA69}" dt="2023-03-20T11:24:39.195" v="2043" actId="20577"/>
          <ac:spMkLst>
            <pc:docMk/>
            <pc:sldMk cId="2520935320" sldId="531"/>
            <ac:spMk id="16" creationId="{352C0D93-62C6-0111-D5B3-CE6184903CDF}"/>
          </ac:spMkLst>
        </pc:spChg>
        <pc:spChg chg="mod">
          <ac:chgData name="Shrivastava, Nidhi" userId="2c560d50-77ea-43e6-b706-f16c15a34a0a" providerId="ADAL" clId="{510299B8-1299-49D5-8342-B5ECC893EA69}" dt="2023-03-20T11:13:28.919" v="1631" actId="14100"/>
          <ac:spMkLst>
            <pc:docMk/>
            <pc:sldMk cId="2520935320" sldId="531"/>
            <ac:spMk id="18" creationId="{5F33E51A-3061-4FED-8825-A73AC9ADDE9B}"/>
          </ac:spMkLst>
        </pc:spChg>
        <pc:spChg chg="mod">
          <ac:chgData name="Shrivastava, Nidhi" userId="2c560d50-77ea-43e6-b706-f16c15a34a0a" providerId="ADAL" clId="{510299B8-1299-49D5-8342-B5ECC893EA69}" dt="2023-03-20T11:13:32.804" v="1632" actId="1076"/>
          <ac:spMkLst>
            <pc:docMk/>
            <pc:sldMk cId="2520935320" sldId="531"/>
            <ac:spMk id="19" creationId="{9C4F48FE-3BD8-4633-8A5D-E92B9F2037C0}"/>
          </ac:spMkLst>
        </pc:spChg>
        <pc:spChg chg="mod">
          <ac:chgData name="Shrivastava, Nidhi" userId="2c560d50-77ea-43e6-b706-f16c15a34a0a" providerId="ADAL" clId="{510299B8-1299-49D5-8342-B5ECC893EA69}" dt="2023-03-20T11:09:54.371" v="1565" actId="255"/>
          <ac:spMkLst>
            <pc:docMk/>
            <pc:sldMk cId="2520935320" sldId="531"/>
            <ac:spMk id="22" creationId="{40B0800B-5303-4CB7-9A7A-358F4A19970C}"/>
          </ac:spMkLst>
        </pc:spChg>
        <pc:spChg chg="mod">
          <ac:chgData name="Shrivastava, Nidhi" userId="2c560d50-77ea-43e6-b706-f16c15a34a0a" providerId="ADAL" clId="{510299B8-1299-49D5-8342-B5ECC893EA69}" dt="2023-03-20T11:10:01.424" v="1566" actId="255"/>
          <ac:spMkLst>
            <pc:docMk/>
            <pc:sldMk cId="2520935320" sldId="531"/>
            <ac:spMk id="23" creationId="{28AB2D9C-2686-4E36-9C97-5F32A1529F43}"/>
          </ac:spMkLst>
        </pc:spChg>
        <pc:spChg chg="mod">
          <ac:chgData name="Shrivastava, Nidhi" userId="2c560d50-77ea-43e6-b706-f16c15a34a0a" providerId="ADAL" clId="{510299B8-1299-49D5-8342-B5ECC893EA69}" dt="2023-03-20T11:53:54.927" v="2420" actId="6549"/>
          <ac:spMkLst>
            <pc:docMk/>
            <pc:sldMk cId="2520935320" sldId="531"/>
            <ac:spMk id="26" creationId="{10C3F938-130F-41E3-81BF-7E59A83B0948}"/>
          </ac:spMkLst>
        </pc:spChg>
        <pc:picChg chg="mod">
          <ac:chgData name="Shrivastava, Nidhi" userId="2c560d50-77ea-43e6-b706-f16c15a34a0a" providerId="ADAL" clId="{510299B8-1299-49D5-8342-B5ECC893EA69}" dt="2023-03-20T10:49:28.088" v="805" actId="14100"/>
          <ac:picMkLst>
            <pc:docMk/>
            <pc:sldMk cId="2520935320" sldId="531"/>
            <ac:picMk id="20" creationId="{474CF40C-84CB-5671-222E-394DBB42EB47}"/>
          </ac:picMkLst>
        </pc:picChg>
      </pc:sldChg>
      <pc:sldChg chg="new del">
        <pc:chgData name="Shrivastava, Nidhi" userId="2c560d50-77ea-43e6-b706-f16c15a34a0a" providerId="ADAL" clId="{510299B8-1299-49D5-8342-B5ECC893EA69}" dt="2023-03-20T11:09:15.605" v="1560" actId="47"/>
        <pc:sldMkLst>
          <pc:docMk/>
          <pc:sldMk cId="1172657534" sldId="532"/>
        </pc:sldMkLst>
      </pc:sldChg>
      <pc:sldChg chg="del">
        <pc:chgData name="Shrivastava, Nidhi" userId="2c560d50-77ea-43e6-b706-f16c15a34a0a" providerId="ADAL" clId="{510299B8-1299-49D5-8342-B5ECC893EA69}" dt="2023-03-20T11:09:12.924" v="1558" actId="2696"/>
        <pc:sldMkLst>
          <pc:docMk/>
          <pc:sldMk cId="3343809326" sldId="532"/>
        </pc:sldMkLst>
      </pc:sldChg>
      <pc:sldChg chg="del">
        <pc:chgData name="Shrivastava, Nidhi" userId="2c560d50-77ea-43e6-b706-f16c15a34a0a" providerId="ADAL" clId="{510299B8-1299-49D5-8342-B5ECC893EA69}" dt="2023-03-20T11:09:12.924" v="1558" actId="2696"/>
        <pc:sldMkLst>
          <pc:docMk/>
          <pc:sldMk cId="3455032734" sldId="533"/>
        </pc:sldMkLst>
      </pc:sldChg>
      <pc:sldMasterChg chg="delSp mod">
        <pc:chgData name="Shrivastava, Nidhi" userId="2c560d50-77ea-43e6-b706-f16c15a34a0a" providerId="ADAL" clId="{510299B8-1299-49D5-8342-B5ECC893EA69}" dt="2023-03-20T10:33:00.240" v="0" actId="478"/>
        <pc:sldMasterMkLst>
          <pc:docMk/>
          <pc:sldMasterMk cId="3148442428" sldId="2147483680"/>
        </pc:sldMasterMkLst>
        <pc:picChg chg="del">
          <ac:chgData name="Shrivastava, Nidhi" userId="2c560d50-77ea-43e6-b706-f16c15a34a0a" providerId="ADAL" clId="{510299B8-1299-49D5-8342-B5ECC893EA69}" dt="2023-03-20T10:33:00.240" v="0" actId="478"/>
          <ac:picMkLst>
            <pc:docMk/>
            <pc:sldMasterMk cId="3148442428" sldId="2147483680"/>
            <ac:picMk id="10" creationId="{00000000-0000-0000-0000-000000000000}"/>
          </ac:picMkLst>
        </pc:picChg>
      </pc:sldMasterChg>
    </pc:docChg>
  </pc:docChgLst>
  <pc:docChgLst>
    <pc:chgData name="Prakash Singh, Ram" userId="17dd5cbc-4f3e-492c-9c38-8ba985f98b2f" providerId="ADAL" clId="{DBF818C7-8818-45B0-8F1D-2C1F443D8625}"/>
    <pc:docChg chg="custSel modSld">
      <pc:chgData name="Prakash Singh, Ram" userId="17dd5cbc-4f3e-492c-9c38-8ba985f98b2f" providerId="ADAL" clId="{DBF818C7-8818-45B0-8F1D-2C1F443D8625}" dt="2024-07-11T11:12:53.604" v="453" actId="20577"/>
      <pc:docMkLst>
        <pc:docMk/>
      </pc:docMkLst>
      <pc:sldChg chg="modSp mod">
        <pc:chgData name="Prakash Singh, Ram" userId="17dd5cbc-4f3e-492c-9c38-8ba985f98b2f" providerId="ADAL" clId="{DBF818C7-8818-45B0-8F1D-2C1F443D8625}" dt="2024-07-11T11:12:53.604" v="453" actId="20577"/>
        <pc:sldMkLst>
          <pc:docMk/>
          <pc:sldMk cId="2520935320" sldId="531"/>
        </pc:sldMkLst>
        <pc:spChg chg="mod">
          <ac:chgData name="Prakash Singh, Ram" userId="17dd5cbc-4f3e-492c-9c38-8ba985f98b2f" providerId="ADAL" clId="{DBF818C7-8818-45B0-8F1D-2C1F443D8625}" dt="2024-07-11T11:00:27.798" v="131" actId="6549"/>
          <ac:spMkLst>
            <pc:docMk/>
            <pc:sldMk cId="2520935320" sldId="531"/>
            <ac:spMk id="13" creationId="{13BE3AFE-9213-4E7B-B6C0-C98E69D64C3E}"/>
          </ac:spMkLst>
        </pc:spChg>
        <pc:spChg chg="mod">
          <ac:chgData name="Prakash Singh, Ram" userId="17dd5cbc-4f3e-492c-9c38-8ba985f98b2f" providerId="ADAL" clId="{DBF818C7-8818-45B0-8F1D-2C1F443D8625}" dt="2024-07-11T11:02:51.308" v="150" actId="20577"/>
          <ac:spMkLst>
            <pc:docMk/>
            <pc:sldMk cId="2520935320" sldId="531"/>
            <ac:spMk id="22" creationId="{40B0800B-5303-4CB7-9A7A-358F4A19970C}"/>
          </ac:spMkLst>
        </pc:spChg>
        <pc:spChg chg="mod">
          <ac:chgData name="Prakash Singh, Ram" userId="17dd5cbc-4f3e-492c-9c38-8ba985f98b2f" providerId="ADAL" clId="{DBF818C7-8818-45B0-8F1D-2C1F443D8625}" dt="2024-07-11T11:12:53.604" v="453" actId="20577"/>
          <ac:spMkLst>
            <pc:docMk/>
            <pc:sldMk cId="2520935320" sldId="531"/>
            <ac:spMk id="26" creationId="{10C3F938-130F-41E3-81BF-7E59A83B094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8F7CF7-0767-4948-9059-035EE8D333D9}" type="datetimeFigureOut">
              <a:rPr lang="en-GB" smtClean="0"/>
              <a:t>11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A7FF4-1A31-47CB-9EF8-82410D481E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779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A7FF4-1A31-47CB-9EF8-82410D481E8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163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995971" y="6609355"/>
            <a:ext cx="730710" cy="138499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07713" y="6593967"/>
            <a:ext cx="4576574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Copyright © 2023 Accenture  All rights reserved. Confidential information </a:t>
            </a:r>
          </a:p>
        </p:txBody>
      </p:sp>
    </p:spTree>
    <p:extLst>
      <p:ext uri="{BB962C8B-B14F-4D97-AF65-F5344CB8AC3E}">
        <p14:creationId xmlns:p14="http://schemas.microsoft.com/office/powerpoint/2010/main" val="3493706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07713" y="6593967"/>
            <a:ext cx="4576574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Copyright © 2023 Accenture  All rights reserved. Confidential information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971" y="130593"/>
            <a:ext cx="1028563" cy="27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442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600" b="1" kern="1200" spc="0" baseline="0" dirty="0" smtClean="0">
          <a:solidFill>
            <a:srgbClr val="FF6D14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400" indent="-230400" algn="l" rtl="0" eaLnBrk="1" fontAlgn="base" hangingPunct="1">
        <a:spcBef>
          <a:spcPts val="1200"/>
        </a:spcBef>
        <a:spcAft>
          <a:spcPct val="0"/>
        </a:spcAft>
        <a:buSzPct val="80000"/>
        <a:buFont typeface="Arial" pitchFamily="34" charset="0"/>
        <a:buChar char="•"/>
        <a:defRPr sz="26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1pPr>
      <a:lvl2pPr marL="457200" indent="-230400" algn="l" rtl="0" eaLnBrk="1" fontAlgn="base" hangingPunct="1">
        <a:spcBef>
          <a:spcPts val="624"/>
        </a:spcBef>
        <a:spcAft>
          <a:spcPct val="0"/>
        </a:spcAft>
        <a:buSzPct val="80000"/>
        <a:buFont typeface="Arial" pitchFamily="34" charset="0"/>
        <a:buChar char="–"/>
        <a:defRPr sz="24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2pPr>
      <a:lvl3pPr marL="687600" indent="-230400" algn="l" rtl="0" eaLnBrk="1" fontAlgn="base" hangingPunct="1">
        <a:spcBef>
          <a:spcPts val="576"/>
        </a:spcBef>
        <a:spcAft>
          <a:spcPct val="0"/>
        </a:spcAft>
        <a:buSzPct val="80000"/>
        <a:buFont typeface="Arial" pitchFamily="34" charset="0"/>
        <a:buChar char="•"/>
        <a:defRPr sz="20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3pPr>
      <a:lvl4pPr marL="910800" indent="-226800" algn="l" rtl="0" eaLnBrk="1" fontAlgn="base" hangingPunct="1">
        <a:spcBef>
          <a:spcPts val="528"/>
        </a:spcBef>
        <a:spcAft>
          <a:spcPct val="0"/>
        </a:spcAft>
        <a:buSzPct val="80000"/>
        <a:buFont typeface="Arial" pitchFamily="34" charset="0"/>
        <a:buChar char="–"/>
        <a:defRPr sz="18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4pPr>
      <a:lvl5pPr marL="1144800" indent="-230400" algn="l" rtl="0" eaLnBrk="1" fontAlgn="base" hangingPunct="1">
        <a:spcBef>
          <a:spcPts val="48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rgbClr val="7F7F7F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7392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720">
          <p15:clr>
            <a:srgbClr val="F26B43"/>
          </p15:clr>
        </p15:guide>
        <p15:guide id="5" orient="horz" pos="40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A0BDC-4F02-4316-B9A8-E04A00C811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07713" y="6626624"/>
            <a:ext cx="4576574" cy="169277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Copyright © 2023 Accenture  All rights reserved. Confidential information </a:t>
            </a:r>
          </a:p>
        </p:txBody>
      </p:sp>
      <p:sp>
        <p:nvSpPr>
          <p:cNvPr id="6" name="Rectangle 28">
            <a:extLst>
              <a:ext uri="{FF2B5EF4-FFF2-40B4-BE49-F238E27FC236}">
                <a16:creationId xmlns:a16="http://schemas.microsoft.com/office/drawing/2014/main" id="{47DD73A6-E9A1-49D9-A11A-0E15E52844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276" y="4840352"/>
            <a:ext cx="4077002" cy="1786272"/>
          </a:xfrm>
          <a:prstGeom prst="rect">
            <a:avLst/>
          </a:prstGeom>
          <a:noFill/>
          <a:ln w="6350" algn="ctr">
            <a:solidFill>
              <a:srgbClr val="FD64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488" tIns="180000" rIns="90488" bIns="44450">
            <a:noAutofit/>
          </a:bodyPr>
          <a:lstStyle/>
          <a:p>
            <a:pPr lvl="0">
              <a:buClr>
                <a:schemeClr val="dk1"/>
              </a:buClr>
              <a:buSzPct val="100000"/>
              <a:defRPr sz="1400" u="none" strike="noStrike" cap="none"/>
            </a:pPr>
            <a:endParaRPr lang="en-US" sz="1000">
              <a:latin typeface="Tahoma"/>
              <a:ea typeface="Tahoma"/>
              <a:cs typeface="Tahoma"/>
              <a:sym typeface="Tahoma"/>
            </a:endParaRPr>
          </a:p>
          <a:p>
            <a:pPr marR="0" lvl="0" algn="l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00" b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F63765-ACC3-4248-B021-B24B4663F24E}"/>
              </a:ext>
            </a:extLst>
          </p:cNvPr>
          <p:cNvSpPr txBox="1">
            <a:spLocks/>
          </p:cNvSpPr>
          <p:nvPr/>
        </p:nvSpPr>
        <p:spPr>
          <a:xfrm>
            <a:off x="1656927" y="21685"/>
            <a:ext cx="5723587" cy="72956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b="1" kern="1200" spc="0" baseline="0" dirty="0" smtClean="0">
                <a:solidFill>
                  <a:srgbClr val="FF6D14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US" sz="2800" dirty="0">
                <a:latin typeface="Graphik"/>
                <a:cs typeface="Arial"/>
              </a:rPr>
              <a:t>Ram Prakash Singh</a:t>
            </a:r>
            <a:endParaRPr lang="en-US" dirty="0"/>
          </a:p>
          <a:p>
            <a:r>
              <a:rPr lang="en-US" sz="1800" dirty="0">
                <a:solidFill>
                  <a:schemeClr val="accent4"/>
                </a:solidFill>
                <a:latin typeface="Graphik"/>
                <a:cs typeface="Arial"/>
              </a:rPr>
              <a:t>Lead Developer</a:t>
            </a:r>
            <a:endParaRPr lang="en-US" sz="2000" dirty="0">
              <a:solidFill>
                <a:schemeClr val="accent4"/>
              </a:solidFill>
              <a:latin typeface="Graphik"/>
              <a:cs typeface="Arial"/>
            </a:endParaRPr>
          </a:p>
          <a:p>
            <a:endParaRPr lang="en-US" sz="2000" dirty="0">
              <a:solidFill>
                <a:schemeClr val="accent4"/>
              </a:solidFill>
              <a:latin typeface="Graphik" panose="020B0503030202060203" pitchFamily="34" charset="0"/>
            </a:endParaRPr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85570442-7B88-45E7-B360-4FFF925BD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357" y="650935"/>
            <a:ext cx="7309535" cy="5013182"/>
          </a:xfrm>
          <a:prstGeom prst="rect">
            <a:avLst/>
          </a:prstGeom>
          <a:noFill/>
          <a:ln w="6350" algn="ctr">
            <a:solidFill>
              <a:srgbClr val="FD64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0488" tIns="180000" rIns="90488" bIns="44450">
            <a:noAutofit/>
          </a:bodyPr>
          <a:lstStyle/>
          <a:p>
            <a:pPr algn="just">
              <a:defRPr/>
            </a:pPr>
            <a:endParaRPr kumimoji="0" lang="en-US" sz="900" b="0" i="0" u="none" strike="noStrike" kern="1200" cap="none" spc="0" normalizeH="0" baseline="0" noProof="0"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29">
            <a:extLst>
              <a:ext uri="{FF2B5EF4-FFF2-40B4-BE49-F238E27FC236}">
                <a16:creationId xmlns:a16="http://schemas.microsoft.com/office/drawing/2014/main" id="{847A20DF-4A81-40B4-B63E-F02B8B7772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71804" y="511634"/>
            <a:ext cx="2247979" cy="259045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lIns="36000" tIns="44450" rIns="36000" bIns="4445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lang="en-GB" altLang="en-US" sz="1100" dirty="0">
                <a:solidFill>
                  <a:srgbClr val="FD64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elected </a:t>
            </a:r>
            <a:r>
              <a:rPr kumimoji="0" lang="en-GB" altLang="en-US" sz="1100" i="0" u="none" strike="noStrike" kern="1200" cap="none" spc="0" normalizeH="0" baseline="0" noProof="0" dirty="0">
                <a:solidFill>
                  <a:srgbClr val="FD640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elevant Experiences</a:t>
            </a:r>
          </a:p>
        </p:txBody>
      </p:sp>
      <p:sp>
        <p:nvSpPr>
          <p:cNvPr id="11" name="Text Box 31">
            <a:extLst>
              <a:ext uri="{FF2B5EF4-FFF2-40B4-BE49-F238E27FC236}">
                <a16:creationId xmlns:a16="http://schemas.microsoft.com/office/drawing/2014/main" id="{1D213C93-48CD-4D15-AEA1-6B623563A5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351" y="1130896"/>
            <a:ext cx="928707" cy="1289447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</p:spPr>
        <p:txBody>
          <a:bodyPr/>
          <a:lstStyle>
            <a:lvl1pPr marL="171450" indent="-1714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altLang="zh-MO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PMingLiU" pitchFamily="18" charset="-120"/>
              <a:cs typeface="Arial" panose="020B0604020202020204" pitchFamily="34" charset="0"/>
            </a:endParaRPr>
          </a:p>
        </p:txBody>
      </p:sp>
      <p:sp>
        <p:nvSpPr>
          <p:cNvPr id="13" name="Rectangle 30">
            <a:extLst>
              <a:ext uri="{FF2B5EF4-FFF2-40B4-BE49-F238E27FC236}">
                <a16:creationId xmlns:a16="http://schemas.microsoft.com/office/drawing/2014/main" id="{13BE3AFE-9213-4E7B-B6C0-C98E69D64C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107" y="1703187"/>
            <a:ext cx="4070171" cy="3025346"/>
          </a:xfrm>
          <a:prstGeom prst="rect">
            <a:avLst/>
          </a:prstGeom>
          <a:noFill/>
          <a:ln w="6350">
            <a:solidFill>
              <a:srgbClr val="FD6400"/>
            </a:solidFill>
            <a:miter lim="800000"/>
            <a:headEnd/>
            <a:tailEnd/>
          </a:ln>
        </p:spPr>
        <p:txBody>
          <a:bodyPr wrap="square" lIns="92075" tIns="180000" rIns="92075" bIns="46038" anchor="t">
            <a:noAutofit/>
          </a:bodyPr>
          <a:lstStyle/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100" dirty="0">
                <a:latin typeface="Graphik"/>
              </a:rPr>
              <a:t>12+ years of experience in all aspects of software development, testing from extensive analysis and design through execution and maintenance in various business domains. Experienced in managing, leading development &amp; integration projects, domain driven design, test driven development, product development.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100" dirty="0">
                <a:latin typeface="Graphik"/>
              </a:rPr>
              <a:t>Strong programming skills in implementation of the applications using  Java, Spring boot, Spring Webflux, Microservice, REST, JPA, Container, Kafka Docker/K8S(excluded DevOps).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100" dirty="0">
                <a:latin typeface="Graphik"/>
              </a:rPr>
              <a:t>Experience in Agile Methodology.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100" dirty="0">
                <a:latin typeface="Graphik"/>
              </a:rPr>
              <a:t>Flexible and versatile to adopt a new environment and domain also having interpersonal skills.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r>
              <a:rPr lang="en-US" sz="1100" dirty="0">
                <a:latin typeface="Graphik" panose="020B0503030202060203" pitchFamily="34" charset="0"/>
                <a:cs typeface="Calibri" panose="020F0502020204030204" pitchFamily="34" charset="0"/>
              </a:rPr>
              <a:t>Coordinate with stakeholders on the information required for the implementation of technical solutions. </a:t>
            </a:r>
          </a:p>
          <a:p>
            <a:pPr marL="171450" indent="-171450">
              <a:buFont typeface="Arial,Sans-Serif" panose="020B0604020202020204" pitchFamily="34" charset="0"/>
              <a:buChar char="•"/>
            </a:pPr>
            <a:endParaRPr lang="en-US" sz="1100" dirty="0">
              <a:latin typeface="Graphik" panose="020B0503030202060203" pitchFamily="34" charset="0"/>
            </a:endParaRPr>
          </a:p>
          <a:p>
            <a:endParaRPr lang="en-US" sz="1100" dirty="0">
              <a:latin typeface="Graphik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atin typeface="Graphik" panose="020B050303020206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50" dirty="0">
              <a:latin typeface="Graphik" panose="020B0503030202060203" pitchFamily="34" charset="0"/>
            </a:endParaRPr>
          </a:p>
        </p:txBody>
      </p:sp>
      <p:sp>
        <p:nvSpPr>
          <p:cNvPr id="14" name="Rectangle 34">
            <a:extLst>
              <a:ext uri="{FF2B5EF4-FFF2-40B4-BE49-F238E27FC236}">
                <a16:creationId xmlns:a16="http://schemas.microsoft.com/office/drawing/2014/main" id="{6F4FA560-736D-41DF-AA08-D3D1635A2D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0612" y="1618546"/>
            <a:ext cx="928707" cy="1692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lIns="36000" tIns="0" rIns="36000" bIns="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kumimoji="0" lang="en-GB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D640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Background</a:t>
            </a:r>
          </a:p>
        </p:txBody>
      </p:sp>
      <p:sp>
        <p:nvSpPr>
          <p:cNvPr id="15" name="Rectangle 34">
            <a:extLst>
              <a:ext uri="{FF2B5EF4-FFF2-40B4-BE49-F238E27FC236}">
                <a16:creationId xmlns:a16="http://schemas.microsoft.com/office/drawing/2014/main" id="{A2E35764-883D-4F16-AA06-7945656331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3928" y="4781105"/>
            <a:ext cx="1396784" cy="1692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lIns="36000" tIns="0" rIns="36000" bIns="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kumimoji="0" lang="en-GB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D640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elevant Experti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B0800B-5303-4CB7-9A7A-358F4A19970C}"/>
              </a:ext>
            </a:extLst>
          </p:cNvPr>
          <p:cNvSpPr txBox="1"/>
          <p:nvPr/>
        </p:nvSpPr>
        <p:spPr>
          <a:xfrm>
            <a:off x="413979" y="4914505"/>
            <a:ext cx="2345124" cy="1792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r>
              <a:rPr lang="en-US" sz="1100" b="1" dirty="0">
                <a:latin typeface="Graphik" panose="020B0503030202060203" pitchFamily="34" charset="0"/>
                <a:ea typeface="Tahoma"/>
                <a:cs typeface="Tahoma"/>
                <a:sym typeface="Tahoma"/>
              </a:rPr>
              <a:t>Tools: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Java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SpringBoot, Spring Webflux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REST, Microservice, Kafka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AWS(Lambda, Aurora etc.)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Docker/K8S(DevOps excluded)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Spring Data JPA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SQL/NO_SQL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5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Junit, Swagger, Graphan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8AB2D9C-2686-4E36-9C97-5F32A1529F43}"/>
              </a:ext>
            </a:extLst>
          </p:cNvPr>
          <p:cNvSpPr txBox="1"/>
          <p:nvPr/>
        </p:nvSpPr>
        <p:spPr>
          <a:xfrm>
            <a:off x="2627586" y="4947718"/>
            <a:ext cx="177169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chemeClr val="dk1"/>
              </a:buClr>
              <a:buSzPct val="25000"/>
              <a:defRPr sz="1400" u="none" strike="noStrike" cap="none"/>
            </a:pPr>
            <a:r>
              <a:rPr lang="en-US" sz="1100" b="1" dirty="0">
                <a:latin typeface="Graphik" panose="020B0503030202060203" pitchFamily="34" charset="0"/>
                <a:ea typeface="Tahoma"/>
                <a:cs typeface="Tahoma"/>
                <a:sym typeface="Tahoma"/>
              </a:rPr>
              <a:t>Testing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latin typeface="Graphik" panose="020B0503030202060203" pitchFamily="34" charset="0"/>
                <a:ea typeface="Tahoma"/>
                <a:cs typeface="Tahoma"/>
                <a:sym typeface="Tahoma"/>
              </a:rPr>
              <a:t>Cucumber BDD framework</a:t>
            </a:r>
            <a:endParaRPr lang="en-US" sz="1100" dirty="0">
              <a:solidFill>
                <a:srgbClr val="000000"/>
              </a:solidFill>
              <a:latin typeface="Graphik" panose="020B0503030202060203" pitchFamily="34" charset="0"/>
              <a:sym typeface="Arial"/>
            </a:endParaRP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API Testing</a:t>
            </a:r>
          </a:p>
          <a:p>
            <a:pPr marL="114300" lvl="0" indent="-114300">
              <a:buSzPct val="100000"/>
              <a:buFont typeface="Arial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Manual Testing</a:t>
            </a:r>
            <a:endParaRPr lang="en-US" sz="1100" dirty="0">
              <a:latin typeface="Graphik" panose="020B0503030202060203" pitchFamily="34" charset="0"/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endParaRPr lang="en-US" sz="1100" dirty="0">
              <a:latin typeface="Graphik" panose="020B0503030202060203" pitchFamily="34" charset="0"/>
              <a:ea typeface="Tahoma"/>
              <a:cs typeface="Tahoma"/>
              <a:sym typeface="Tahoma"/>
            </a:endParaRPr>
          </a:p>
          <a:p>
            <a:pPr marL="177800" lvl="0" indent="-177800">
              <a:buClr>
                <a:schemeClr val="dk1"/>
              </a:buClr>
              <a:buSzPct val="25000"/>
              <a:defRPr sz="1400" u="none" strike="noStrike" cap="none"/>
            </a:pPr>
            <a:r>
              <a:rPr lang="en-US" sz="1100" b="1" dirty="0">
                <a:latin typeface="Graphik" panose="020B0503030202060203" pitchFamily="34" charset="0"/>
                <a:ea typeface="Tahoma"/>
                <a:cs typeface="Tahoma"/>
                <a:sym typeface="Tahoma"/>
              </a:rPr>
              <a:t>Industries:</a:t>
            </a:r>
          </a:p>
          <a:p>
            <a:pPr marL="114300" lvl="0" indent="-114300">
              <a:buClr>
                <a:schemeClr val="dk1"/>
              </a:buClr>
              <a:buSzPct val="100000"/>
              <a:buFont typeface="Tahoma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Ecommerce</a:t>
            </a:r>
            <a:endParaRPr lang="en-US" sz="1100" dirty="0">
              <a:solidFill>
                <a:srgbClr val="000000"/>
              </a:solidFill>
              <a:latin typeface="Graphik" panose="020B0503030202060203" pitchFamily="34" charset="0"/>
              <a:sym typeface="Tahoma"/>
            </a:endParaRPr>
          </a:p>
          <a:p>
            <a:pPr marL="114300" lvl="0" indent="-114300">
              <a:buClr>
                <a:schemeClr val="dk1"/>
              </a:buClr>
              <a:buSzPct val="100000"/>
              <a:buFont typeface="Tahoma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Banking</a:t>
            </a:r>
          </a:p>
          <a:p>
            <a:pPr marL="114300" lvl="0" indent="-114300">
              <a:buClr>
                <a:schemeClr val="dk1"/>
              </a:buClr>
              <a:buSzPct val="100000"/>
              <a:buFont typeface="Tahoma"/>
              <a:buChar char="•"/>
              <a:defRPr sz="1400" u="none" strike="noStrike" cap="none"/>
            </a:pPr>
            <a:r>
              <a:rPr lang="en-US" sz="1100" dirty="0">
                <a:solidFill>
                  <a:srgbClr val="000000"/>
                </a:solidFill>
                <a:latin typeface="Graphik" panose="020B0503030202060203" pitchFamily="34" charset="0"/>
                <a:sym typeface="Arial"/>
              </a:rPr>
              <a:t>Retail</a:t>
            </a:r>
            <a:endParaRPr lang="en-US" sz="1100" dirty="0">
              <a:solidFill>
                <a:srgbClr val="000000"/>
              </a:solidFill>
              <a:latin typeface="Graphik" panose="020B0503030202060203" pitchFamily="34" charset="0"/>
              <a:sym typeface="Tahoma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C3F938-130F-41E3-81BF-7E59A83B0948}"/>
              </a:ext>
            </a:extLst>
          </p:cNvPr>
          <p:cNvSpPr/>
          <p:nvPr/>
        </p:nvSpPr>
        <p:spPr>
          <a:xfrm>
            <a:off x="4560010" y="749976"/>
            <a:ext cx="7302882" cy="5606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buClr>
                <a:srgbClr val="004A8F"/>
              </a:buClr>
              <a:buSzPct val="70000"/>
            </a:pPr>
            <a:r>
              <a:rPr lang="en-GB" sz="1100" b="1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PROJECT: Unilever-Role: Lead Developer – Duration: June 2023 to </a:t>
            </a:r>
            <a:r>
              <a:rPr lang="en-GB" sz="1100" b="1" i="1" dirty="0">
                <a:solidFill>
                  <a:srgbClr val="000000"/>
                </a:solidFill>
                <a:latin typeface="Graphik" panose="020B0503030202060203" pitchFamily="34" charset="0"/>
              </a:rPr>
              <a:t>March 2024 to till now</a:t>
            </a:r>
            <a:endParaRPr lang="en-GB" sz="1100" b="1" i="1" u="none" strike="noStrike" baseline="0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GB" sz="1100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Microservice based </a:t>
            </a:r>
            <a:r>
              <a:rPr lang="en-GB" sz="1100" i="1" u="none" strike="noStrike" baseline="0">
                <a:solidFill>
                  <a:srgbClr val="000000"/>
                </a:solidFill>
                <a:latin typeface="Graphik" panose="020B0503030202060203" pitchFamily="34" charset="0"/>
              </a:rPr>
              <a:t>Retail domain application </a:t>
            </a:r>
            <a:r>
              <a:rPr lang="en-GB" sz="1100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for scrum team. Tech stack Java 11, SpringBoot, Microservice, MySQL, Junit, Graphana, GCP.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</a:pPr>
            <a:r>
              <a:rPr lang="en-GB" sz="1100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Maintenance &amp; support project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</a:pPr>
            <a:r>
              <a:rPr lang="en-GB" sz="1100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Working as a Sr. </a:t>
            </a:r>
            <a:r>
              <a:rPr lang="en-GB" sz="1100" i="1" dirty="0">
                <a:solidFill>
                  <a:srgbClr val="000000"/>
                </a:solidFill>
                <a:latin typeface="Graphik" panose="020B0503030202060203" pitchFamily="34" charset="0"/>
              </a:rPr>
              <a:t>developer</a:t>
            </a:r>
            <a:endParaRPr lang="en-GB" sz="1100" b="1" i="1" u="none" strike="noStrike" baseline="0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GB" sz="1100" b="1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PROJECT: IHOF PMM(Best Buy </a:t>
            </a:r>
            <a:r>
              <a:rPr lang="en-GB" sz="1100" b="1" i="1" dirty="0">
                <a:solidFill>
                  <a:srgbClr val="000000"/>
                </a:solidFill>
                <a:latin typeface="Graphik" panose="020B0503030202060203" pitchFamily="34" charset="0"/>
              </a:rPr>
              <a:t>U</a:t>
            </a:r>
            <a:r>
              <a:rPr lang="en-GB" sz="1100" b="1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SA)-Role: Lead Developer – Duration: June 2023 to </a:t>
            </a:r>
            <a:r>
              <a:rPr lang="en-GB" sz="1100" b="1" i="1" dirty="0">
                <a:solidFill>
                  <a:srgbClr val="000000"/>
                </a:solidFill>
                <a:latin typeface="Graphik" panose="020B0503030202060203" pitchFamily="34" charset="0"/>
              </a:rPr>
              <a:t>March 2024</a:t>
            </a:r>
            <a:endParaRPr lang="en-GB" sz="1100" b="1" i="1" u="none" strike="noStrike" baseline="0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US" sz="1100" dirty="0">
                <a:latin typeface="Graphik" panose="020B0503030202060203" pitchFamily="34" charset="0"/>
                <a:cs typeface="Calibri" panose="020F0502020204030204" pitchFamily="34" charset="0"/>
              </a:rPr>
              <a:t>Microservice based eCommerce application for scrum team. Tech stack Spring Boot, Java17, Kafka Streaming, Avro Schema, Junit, Cucumber BDD integration testcase, Gradle, PostgreSQL, Kibana.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100" dirty="0">
                <a:latin typeface="Graphik" panose="020B0503030202060203" pitchFamily="34" charset="0"/>
              </a:rPr>
              <a:t>Technical Lead, leading dev team of around 3 people.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100" dirty="0">
                <a:latin typeface="Graphik" panose="020B0503030202060203" pitchFamily="34" charset="0"/>
              </a:rPr>
              <a:t>Mentor development team on technical challenges, code reviews, working on the stories.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100" dirty="0">
                <a:latin typeface="Graphik" panose="020B0503030202060203" pitchFamily="34" charset="0"/>
              </a:rPr>
              <a:t>Client interaction on daily basis.</a:t>
            </a:r>
            <a:endParaRPr lang="en-GB" sz="1100" b="1" i="1" u="none" strike="noStrike" baseline="0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GB" sz="1100" b="1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PROJECT: </a:t>
            </a:r>
            <a:r>
              <a:rPr lang="en-GB" sz="1100" b="1" i="1" dirty="0">
                <a:solidFill>
                  <a:srgbClr val="000000"/>
                </a:solidFill>
                <a:latin typeface="Graphik" panose="020B0503030202060203" pitchFamily="34" charset="0"/>
              </a:rPr>
              <a:t>Commerce Next Adidas(AFN)-Role: Tech Lead -Duration: Feb 2021-May 23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US" sz="1100" dirty="0">
                <a:latin typeface="Graphik" panose="020B0503030202060203" pitchFamily="34" charset="0"/>
                <a:cs typeface="Calibri" panose="020F0502020204030204" pitchFamily="34" charset="0"/>
              </a:rPr>
              <a:t>Adidas Commerce Next is an initiative, leveraging lightweight microservices architecture to develop the ecosystem of domain-driven microservices. Tech stack: Java, SpringBoot, SpringWebflux, PostgreSQL, Docker, K8S, Kafka ,Junit, Maven, Redis, Sonar, Kibana, Grafana with Prometheus</a:t>
            </a:r>
            <a:endParaRPr lang="en-US" sz="1100" dirty="0">
              <a:effectLst/>
              <a:latin typeface="Graphik" panose="020B050303020206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tabLst>
                <a:tab pos="229870" algn="l"/>
              </a:tabLst>
              <a:defRPr/>
            </a:pPr>
            <a:r>
              <a:rPr lang="en-US" sz="1100" dirty="0">
                <a:latin typeface="Graphik" panose="020B0503030202060203" pitchFamily="34" charset="0"/>
              </a:rPr>
              <a:t>Map the business requirement to the technical solution.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tabLst>
                <a:tab pos="229870" algn="l"/>
              </a:tabLst>
              <a:defRPr/>
            </a:pPr>
            <a:r>
              <a:rPr lang="en-US" sz="1100" dirty="0">
                <a:latin typeface="Graphik" panose="020B0503030202060203" pitchFamily="34" charset="0"/>
              </a:rPr>
              <a:t>Maintain and develop API contracts.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tabLst>
                <a:tab pos="229870" algn="l"/>
              </a:tabLst>
              <a:defRPr/>
            </a:pPr>
            <a:r>
              <a:rPr lang="en-US" sz="1100" dirty="0">
                <a:latin typeface="Graphik" panose="020B0503030202060203" pitchFamily="34" charset="0"/>
              </a:rPr>
              <a:t>Communicate system requirements to developers and explain system structure to them and provide assistance throughout the assembly process.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tabLst>
                <a:tab pos="229870" algn="l"/>
              </a:tabLst>
              <a:defRPr/>
            </a:pPr>
            <a:r>
              <a:rPr lang="en-US" sz="1100" dirty="0">
                <a:latin typeface="Graphik" panose="020B0503030202060203" pitchFamily="34" charset="0"/>
              </a:rPr>
              <a:t>Mentor development team on technical challenges, code reviews, worked on the prod issues and complex stories.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GB" sz="1100" b="1" i="1" u="none" strike="noStrike" baseline="0" dirty="0">
                <a:solidFill>
                  <a:srgbClr val="000000"/>
                </a:solidFill>
                <a:latin typeface="Graphik" panose="020B0503030202060203" pitchFamily="34" charset="0"/>
              </a:rPr>
              <a:t>PROJECT: </a:t>
            </a:r>
            <a:r>
              <a:rPr lang="en-GB" sz="1100" b="1" i="1" dirty="0">
                <a:solidFill>
                  <a:srgbClr val="000000"/>
                </a:solidFill>
                <a:latin typeface="Graphik" panose="020B0503030202060203" pitchFamily="34" charset="0"/>
              </a:rPr>
              <a:t>Business On Line -BOI   -  Role: Technical Lead - Duration: Dec 2019-Feb 2021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de-DE" sz="1100" dirty="0">
                <a:latin typeface="Graphik" panose="020B0503030202060203" pitchFamily="34" charset="0"/>
                <a:cs typeface="Calibri" panose="020F0502020204030204" pitchFamily="34" charset="0"/>
              </a:rPr>
              <a:t>Corporate Banking web application for scrum team. Agile software develoment methodology. Tech stack such as Java6, Spring, Coolgen, Oracle, Junit, JSP, JS, Selenium, Service now. </a:t>
            </a:r>
            <a:endParaRPr lang="en-US" sz="1100" b="1" dirty="0">
              <a:effectLst/>
              <a:latin typeface="Graphik" panose="020B050303020206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indent="0">
              <a:lnSpc>
                <a:spcPts val="44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333430"/>
                </a:solidFill>
                <a:effectLst/>
                <a:latin typeface="Graphik" panose="020B0503030202060203" pitchFamily="34" charset="0"/>
                <a:ea typeface="Symbol" panose="05050102010706020507" pitchFamily="18" charset="2"/>
                <a:cs typeface="Arial" panose="020B0604020202020204" pitchFamily="34" charset="0"/>
              </a:rPr>
              <a:t> </a:t>
            </a:r>
            <a:endParaRPr lang="en-US" sz="1100" dirty="0">
              <a:effectLst/>
              <a:latin typeface="Graphik" panose="020B0503030202060203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Graphik" panose="020B0503030202060203" pitchFamily="34" charset="0"/>
              </a:rPr>
              <a:t>Technical Lead, leading dev team of around 6 people.</a:t>
            </a:r>
          </a:p>
          <a:p>
            <a:pPr marL="171450" indent="-171450" fontAlgn="base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Graphik" panose="020B0503030202060203" pitchFamily="34" charset="0"/>
              </a:rPr>
              <a:t>Project delivery, Estimation, Planning, Providing technical assistance to the team.</a:t>
            </a:r>
          </a:p>
          <a:p>
            <a:pPr marL="171450" indent="-171450" fontAlgn="base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Graphik" panose="020B0503030202060203" pitchFamily="34" charset="0"/>
              </a:rPr>
              <a:t>Client interaction on daily basis.</a:t>
            </a:r>
          </a:p>
          <a:p>
            <a:pPr marL="171450" indent="-171450" fontAlgn="base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Graphik" panose="020B0503030202060203" pitchFamily="34" charset="0"/>
              </a:rPr>
              <a:t>Maintenance &amp; Support.</a:t>
            </a:r>
          </a:p>
          <a:p>
            <a:pPr fontAlgn="base"/>
            <a:endParaRPr lang="en-US" sz="1100" dirty="0">
              <a:latin typeface="Graphik"/>
              <a:ea typeface="+mn-lt"/>
              <a:cs typeface="+mn-lt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004A8F"/>
              </a:buClr>
              <a:buSzPct val="70000"/>
              <a:buNone/>
            </a:pPr>
            <a:r>
              <a:rPr lang="en-GB" sz="1400" b="1" i="1" dirty="0">
                <a:solidFill>
                  <a:srgbClr val="000000"/>
                </a:solidFill>
                <a:latin typeface="Graphik" panose="020B0503030202060203" pitchFamily="34" charset="0"/>
              </a:rPr>
              <a:t>	</a:t>
            </a:r>
            <a:endParaRPr lang="en-US" sz="1400" b="1" i="1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lvl="0"/>
            <a:endParaRPr lang="en-US" sz="1100" dirty="0">
              <a:latin typeface="Graphik" panose="020B0503030202060203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A0B1BB0-02CA-45D9-A7A7-D68EEDE736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z="1100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z="110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18" name="Rectangle 28">
            <a:extLst>
              <a:ext uri="{FF2B5EF4-FFF2-40B4-BE49-F238E27FC236}">
                <a16:creationId xmlns:a16="http://schemas.microsoft.com/office/drawing/2014/main" id="{5F33E51A-3061-4FED-8825-A73AC9ADDE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357" y="5760856"/>
            <a:ext cx="7316367" cy="833110"/>
          </a:xfrm>
          <a:prstGeom prst="rect">
            <a:avLst/>
          </a:prstGeom>
          <a:noFill/>
          <a:ln w="6350" algn="ctr">
            <a:solidFill>
              <a:srgbClr val="FD64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488" tIns="180000" rIns="90488" bIns="44450">
            <a:noAutofit/>
          </a:bodyPr>
          <a:lstStyle/>
          <a:p>
            <a:pPr lvl="0">
              <a:buClr>
                <a:schemeClr val="dk1"/>
              </a:buClr>
              <a:buSzPct val="100000"/>
              <a:defRPr sz="1400" u="none" strike="noStrike" cap="none"/>
            </a:pPr>
            <a:endParaRPr lang="en-US" sz="1000">
              <a:latin typeface="Tahoma"/>
              <a:ea typeface="Tahoma"/>
              <a:cs typeface="Tahoma"/>
              <a:sym typeface="Tahoma"/>
            </a:endParaRPr>
          </a:p>
          <a:p>
            <a:pPr marR="0" lvl="0" algn="l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000" b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19" name="Rectangle 34">
            <a:extLst>
              <a:ext uri="{FF2B5EF4-FFF2-40B4-BE49-F238E27FC236}">
                <a16:creationId xmlns:a16="http://schemas.microsoft.com/office/drawing/2014/main" id="{9C4F48FE-3BD8-4633-8A5D-E92B9F2037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6400" y="5724601"/>
            <a:ext cx="883823" cy="16927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 lIns="36000" tIns="0" rIns="36000" bIns="0" anchor="ctr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rgbClr val="CC9900"/>
              </a:buClr>
              <a:buSzTx/>
              <a:buFontTx/>
              <a:buNone/>
              <a:tabLst/>
              <a:defRPr/>
            </a:pPr>
            <a:r>
              <a:rPr kumimoji="0" lang="en-GB" altLang="en-US" sz="1100" i="0" u="none" strike="noStrike" kern="1200" cap="none" spc="0" normalizeH="0" baseline="0" noProof="0" dirty="0">
                <a:ln>
                  <a:noFill/>
                </a:ln>
                <a:solidFill>
                  <a:srgbClr val="FD640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Qualific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2C0D93-62C6-0111-D5B3-CE6184903CDF}"/>
              </a:ext>
            </a:extLst>
          </p:cNvPr>
          <p:cNvSpPr txBox="1"/>
          <p:nvPr/>
        </p:nvSpPr>
        <p:spPr>
          <a:xfrm>
            <a:off x="4567182" y="5893879"/>
            <a:ext cx="730254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endParaRPr lang="en-US" sz="11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  <a:latin typeface="Graphik" panose="020B0503030202060203" pitchFamily="34" charset="0"/>
              </a:rPr>
              <a:t>BCA, MCA</a:t>
            </a:r>
          </a:p>
        </p:txBody>
      </p:sp>
      <p:sp>
        <p:nvSpPr>
          <p:cNvPr id="4" name="Text Box 32">
            <a:extLst>
              <a:ext uri="{FF2B5EF4-FFF2-40B4-BE49-F238E27FC236}">
                <a16:creationId xmlns:a16="http://schemas.microsoft.com/office/drawing/2014/main" id="{63D67496-4750-A8DD-E6C0-B4BBCF127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3760" y="848280"/>
            <a:ext cx="2665518" cy="34624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5857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dirty="0">
                <a:solidFill>
                  <a:srgbClr val="000000"/>
                </a:solidFill>
                <a:latin typeface="Graphik" panose="020B0503030202060203" pitchFamily="34" charset="0"/>
              </a:rPr>
              <a:t>+</a:t>
            </a:r>
            <a:r>
              <a:rPr lang="nl-NL" sz="1050" dirty="0">
                <a:solidFill>
                  <a:srgbClr val="000000"/>
                </a:solidFill>
                <a:latin typeface="Graphik" panose="020B0503030202060203" pitchFamily="34" charset="0"/>
              </a:rPr>
              <a:t>91-9953875097</a:t>
            </a:r>
          </a:p>
          <a:p>
            <a:pPr marL="0" marR="0" lvl="0" indent="0" algn="l" defTabSz="5857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50" dirty="0">
                <a:solidFill>
                  <a:schemeClr val="tx2"/>
                </a:solidFill>
                <a:latin typeface="Graphik" panose="020B0503030202060203" pitchFamily="34" charset="0"/>
              </a:rPr>
              <a:t>ram.prakash.singh@accenture.com</a:t>
            </a:r>
          </a:p>
        </p:txBody>
      </p:sp>
      <p:pic>
        <p:nvPicPr>
          <p:cNvPr id="5" name="Picture Placeholder 18" descr="A person wearing a black shirt&#10;&#10;Description automatically generated with medium confidence">
            <a:extLst>
              <a:ext uri="{FF2B5EF4-FFF2-40B4-BE49-F238E27FC236}">
                <a16:creationId xmlns:a16="http://schemas.microsoft.com/office/drawing/2014/main" id="{848A56EA-654A-3E36-5B7D-D658171842B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072" b="2072"/>
          <a:stretch>
            <a:fillRect/>
          </a:stretch>
        </p:blipFill>
        <p:spPr>
          <a:xfrm>
            <a:off x="218996" y="126501"/>
            <a:ext cx="1335413" cy="13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935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Give details of the certifications CPBA and CUI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140711_ppt_template_ing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0000"/>
      </a:accent1>
      <a:accent2>
        <a:srgbClr val="00BBEE"/>
      </a:accent2>
      <a:accent3>
        <a:srgbClr val="FF9900"/>
      </a:accent3>
      <a:accent4>
        <a:srgbClr val="002266"/>
      </a:accent4>
      <a:accent5>
        <a:srgbClr val="359B4C"/>
      </a:accent5>
      <a:accent6>
        <a:srgbClr val="FF0000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501f55a-33d2-482a-bd89-d6e5ab42bb10">
      <UserInfo>
        <DisplayName>Kishor Oza, Ankit</DisplayName>
        <AccountId>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0967182472F047A885F4FE09B79C2A" ma:contentTypeVersion="5" ma:contentTypeDescription="Create a new document." ma:contentTypeScope="" ma:versionID="a6ca12f8c48ffbf733161b1d15fcc3e6">
  <xsd:schema xmlns:xsd="http://www.w3.org/2001/XMLSchema" xmlns:xs="http://www.w3.org/2001/XMLSchema" xmlns:p="http://schemas.microsoft.com/office/2006/metadata/properties" xmlns:ns2="a27aeee8-6247-4a94-9e97-392c5af24d51" xmlns:ns3="d501f55a-33d2-482a-bd89-d6e5ab42bb10" targetNamespace="http://schemas.microsoft.com/office/2006/metadata/properties" ma:root="true" ma:fieldsID="95e455b1450553410e2e857154f3d88c" ns2:_="" ns3:_="">
    <xsd:import namespace="a27aeee8-6247-4a94-9e97-392c5af24d51"/>
    <xsd:import namespace="d501f55a-33d2-482a-bd89-d6e5ab42bb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7aeee8-6247-4a94-9e97-392c5af24d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01f55a-33d2-482a-bd89-d6e5ab42bb1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244E98-BC63-496F-842B-21F450FA19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4FCC1CF-09B9-42A6-83F9-CFE1D41F253E}">
  <ds:schemaRefs>
    <ds:schemaRef ds:uri="http://schemas.openxmlformats.org/package/2006/metadata/core-properties"/>
    <ds:schemaRef ds:uri="http://schemas.microsoft.com/office/2006/documentManagement/types"/>
    <ds:schemaRef ds:uri="a27aeee8-6247-4a94-9e97-392c5af24d51"/>
    <ds:schemaRef ds:uri="http://schemas.microsoft.com/office/infopath/2007/PartnerControls"/>
    <ds:schemaRef ds:uri="http://purl.org/dc/dcmitype/"/>
    <ds:schemaRef ds:uri="http://purl.org/dc/terms/"/>
    <ds:schemaRef ds:uri="http://www.w3.org/XML/1998/namespace"/>
    <ds:schemaRef ds:uri="http://purl.org/dc/elements/1.1/"/>
    <ds:schemaRef ds:uri="d501f55a-33d2-482a-bd89-d6e5ab42bb10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9477E58-2062-4972-8DCA-9F11609A32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7aeee8-6247-4a94-9e97-392c5af24d51"/>
    <ds:schemaRef ds:uri="d501f55a-33d2-482a-bd89-d6e5ab42bb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  <clbl:label id="{e9c55f1f-f169-4db7-a264-a5084ccbb748}" enabled="1" method="Standard" siteId="{135e8995-7d3b-4466-844b-a0d62ba5f49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06</TotalTime>
  <Words>556</Words>
  <Application>Microsoft Office PowerPoint</Application>
  <PresentationFormat>Widescreen</PresentationFormat>
  <Paragraphs>6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,Sans-Serif</vt:lpstr>
      <vt:lpstr>Calibri</vt:lpstr>
      <vt:lpstr>Graphik</vt:lpstr>
      <vt:lpstr>Tahoma</vt:lpstr>
      <vt:lpstr>Wingdings</vt:lpstr>
      <vt:lpstr>1_140711_ppt_template_ing</vt:lpstr>
      <vt:lpstr>think-cell Slide</vt:lpstr>
      <vt:lpstr>PowerPoint Presentation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ume</dc:title>
  <dc:creator>Accenture</dc:creator>
  <cp:lastModifiedBy>Prakash Singh, Ram</cp:lastModifiedBy>
  <cp:revision>55</cp:revision>
  <dcterms:created xsi:type="dcterms:W3CDTF">2017-09-05T09:03:13Z</dcterms:created>
  <dcterms:modified xsi:type="dcterms:W3CDTF">2024-07-11T11:1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0967182472F047A885F4FE09B79C2A</vt:lpwstr>
  </property>
  <property fmtid="{D5CDD505-2E9C-101B-9397-08002B2CF9AE}" pid="3" name="AuthorIds_UIVersion_3584">
    <vt:lpwstr>6</vt:lpwstr>
  </property>
  <property fmtid="{D5CDD505-2E9C-101B-9397-08002B2CF9AE}" pid="4" name="MSIP_Label_112e00b9-34e2-4b26-a577-af1fd0f9f7ee_Enabled">
    <vt:lpwstr>True</vt:lpwstr>
  </property>
  <property fmtid="{D5CDD505-2E9C-101B-9397-08002B2CF9AE}" pid="5" name="MSIP_Label_112e00b9-34e2-4b26-a577-af1fd0f9f7ee_SiteId">
    <vt:lpwstr>33440fc6-b7c7-412c-bb73-0e70b0198d5a</vt:lpwstr>
  </property>
  <property fmtid="{D5CDD505-2E9C-101B-9397-08002B2CF9AE}" pid="6" name="MSIP_Label_112e00b9-34e2-4b26-a577-af1fd0f9f7ee_Owner">
    <vt:lpwstr>preetish.kamath@atos.net</vt:lpwstr>
  </property>
  <property fmtid="{D5CDD505-2E9C-101B-9397-08002B2CF9AE}" pid="7" name="MSIP_Label_112e00b9-34e2-4b26-a577-af1fd0f9f7ee_SetDate">
    <vt:lpwstr>2020-03-24T04:09:25.6358949Z</vt:lpwstr>
  </property>
  <property fmtid="{D5CDD505-2E9C-101B-9397-08002B2CF9AE}" pid="8" name="MSIP_Label_112e00b9-34e2-4b26-a577-af1fd0f9f7ee_Name">
    <vt:lpwstr>Atos For Internal Use</vt:lpwstr>
  </property>
  <property fmtid="{D5CDD505-2E9C-101B-9397-08002B2CF9AE}" pid="9" name="MSIP_Label_112e00b9-34e2-4b26-a577-af1fd0f9f7ee_Application">
    <vt:lpwstr>Microsoft Azure Information Protection</vt:lpwstr>
  </property>
  <property fmtid="{D5CDD505-2E9C-101B-9397-08002B2CF9AE}" pid="10" name="MSIP_Label_112e00b9-34e2-4b26-a577-af1fd0f9f7ee_ActionId">
    <vt:lpwstr>447fb9aa-15e1-4a5a-bb0f-1a6045fda811</vt:lpwstr>
  </property>
  <property fmtid="{D5CDD505-2E9C-101B-9397-08002B2CF9AE}" pid="11" name="MSIP_Label_112e00b9-34e2-4b26-a577-af1fd0f9f7ee_Extended_MSFT_Method">
    <vt:lpwstr>Automatic</vt:lpwstr>
  </property>
  <property fmtid="{D5CDD505-2E9C-101B-9397-08002B2CF9AE}" pid="12" name="MSIP_Label_e463cba9-5f6c-478d-9329-7b2295e4e8ed_Enabled">
    <vt:lpwstr>True</vt:lpwstr>
  </property>
  <property fmtid="{D5CDD505-2E9C-101B-9397-08002B2CF9AE}" pid="13" name="MSIP_Label_e463cba9-5f6c-478d-9329-7b2295e4e8ed_SiteId">
    <vt:lpwstr>33440fc6-b7c7-412c-bb73-0e70b0198d5a</vt:lpwstr>
  </property>
  <property fmtid="{D5CDD505-2E9C-101B-9397-08002B2CF9AE}" pid="14" name="MSIP_Label_e463cba9-5f6c-478d-9329-7b2295e4e8ed_Owner">
    <vt:lpwstr>preetish.kamath@atos.net</vt:lpwstr>
  </property>
  <property fmtid="{D5CDD505-2E9C-101B-9397-08002B2CF9AE}" pid="15" name="MSIP_Label_e463cba9-5f6c-478d-9329-7b2295e4e8ed_SetDate">
    <vt:lpwstr>2020-03-24T04:09:25.6358949Z</vt:lpwstr>
  </property>
  <property fmtid="{D5CDD505-2E9C-101B-9397-08002B2CF9AE}" pid="16" name="MSIP_Label_e463cba9-5f6c-478d-9329-7b2295e4e8ed_Name">
    <vt:lpwstr>Atos For Internal Use - All Employees</vt:lpwstr>
  </property>
  <property fmtid="{D5CDD505-2E9C-101B-9397-08002B2CF9AE}" pid="17" name="MSIP_Label_e463cba9-5f6c-478d-9329-7b2295e4e8ed_Application">
    <vt:lpwstr>Microsoft Azure Information Protection</vt:lpwstr>
  </property>
  <property fmtid="{D5CDD505-2E9C-101B-9397-08002B2CF9AE}" pid="18" name="MSIP_Label_e463cba9-5f6c-478d-9329-7b2295e4e8ed_ActionId">
    <vt:lpwstr>447fb9aa-15e1-4a5a-bb0f-1a6045fda811</vt:lpwstr>
  </property>
  <property fmtid="{D5CDD505-2E9C-101B-9397-08002B2CF9AE}" pid="19" name="MSIP_Label_e463cba9-5f6c-478d-9329-7b2295e4e8ed_Parent">
    <vt:lpwstr>112e00b9-34e2-4b26-a577-af1fd0f9f7ee</vt:lpwstr>
  </property>
  <property fmtid="{D5CDD505-2E9C-101B-9397-08002B2CF9AE}" pid="20" name="MSIP_Label_e463cba9-5f6c-478d-9329-7b2295e4e8ed_Extended_MSFT_Method">
    <vt:lpwstr>Automatic</vt:lpwstr>
  </property>
</Properties>
</file>